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11" autoAdjust="0"/>
    <p:restoredTop sz="94744" autoAdjust="0"/>
  </p:normalViewPr>
  <p:slideViewPr>
    <p:cSldViewPr>
      <p:cViewPr>
        <p:scale>
          <a:sx n="81" d="100"/>
          <a:sy n="81" d="100"/>
        </p:scale>
        <p:origin x="148" y="-196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910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73AB9475-74C7-793B-E597-555BE102D2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A60A192F-F427-64AD-12D9-834DC3D64B5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335E8F44-0368-6465-5242-C362C3958AA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CB3FEF0E-61CA-66D0-1DF8-288E3263D7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C4B60E8B-28AB-263D-96B7-D74682D19E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13" name="Grafik 12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E943C23B-20E6-ADB5-57F9-BB192066CD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1" name="Grafik 10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4BA218EF-94BB-2DBE-5FC4-537CB1C8B46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4" name="Grafik 1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317DF09A-FBF9-8716-A9CF-08DBE2D3F9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8" name="Grafik 17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6416A53E-406C-03C6-9457-E6A6375BE7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" b="10397"/>
          <a:stretch/>
        </p:blipFill>
        <p:spPr>
          <a:xfrm>
            <a:off x="479903" y="6229729"/>
            <a:ext cx="1727665" cy="6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2" name="Grafik 2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24674EE9-9ECE-79DB-E79C-8B2851DB1E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" b="10397"/>
          <a:stretch/>
        </p:blipFill>
        <p:spPr>
          <a:xfrm>
            <a:off x="479903" y="6229729"/>
            <a:ext cx="1727665" cy="6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7" name="Grafik 16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19205106-40C4-E858-BA32-1941978114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" b="10397"/>
          <a:stretch/>
        </p:blipFill>
        <p:spPr>
          <a:xfrm>
            <a:off x="479903" y="6229729"/>
            <a:ext cx="1727665" cy="6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19" name="Grafik 18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B368A047-01A6-DB8C-BB33-D1C0ACA82B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" b="10397"/>
          <a:stretch/>
        </p:blipFill>
        <p:spPr>
          <a:xfrm>
            <a:off x="479903" y="6229729"/>
            <a:ext cx="1727665" cy="628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35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BF5F8E-34E3-134F-AAF7-07D40E1B9BA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3112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4" name="Grafik 1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BC891532-3C56-97AB-4B2C-3C8C12E334D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4" name="Grafik 1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0BB51411-EA1A-5575-9217-55BA7871BE9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4" name="Grafik 1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5B143653-B522-7680-F4BC-26B712538A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4" name="Grafik 1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F8809B9B-F14A-2A1A-F96C-4AACDB6B87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E3C64983-3B12-D017-941B-A51BE21CFB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FE673722-6669-6BCD-D5AA-3DEE518684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28" y="423698"/>
            <a:ext cx="2917298" cy="116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06111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D4F9D6EA-B469-0689-DC81-DF61A6661CB0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" b="10397"/>
          <a:stretch/>
        </p:blipFill>
        <p:spPr>
          <a:xfrm>
            <a:off x="479903" y="6229729"/>
            <a:ext cx="1727665" cy="628271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41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26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096361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CD3A9D-CC0C-AA22-8E7C-02E1587716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18CB0E7-3508-9DB5-F57D-01A05E56DE7B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1341187E-485C-FE69-B6BE-B6967B76FB48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A3F7EB11-36F0-930A-5966-D778CE595B11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B19D1FF7-1DAE-F77A-5B3E-8807259DA5BE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9F8DD581-A6B6-4FFF-945F-1B6DA3E8457C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E9EEBE0A-444A-95DE-515C-9DEDC120711E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F577EE43-1BD1-65DE-F181-88F27BCDA922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DD791EE3-F8D3-BFAA-BF25-8356F46C82A9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78A5C402-7E96-5F0A-9D3E-783FA4227127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387EACA6-D830-E55E-526C-5CE55D52E994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999131F6-F62C-78C2-8FF0-DB3A1E2274AB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2A13A89D-BAFB-89C9-EB96-203BB61B153F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0146B13A-36C7-C6C8-0200-0E5ABF5E98AB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32F5F112-9CB3-D070-A683-964FA94A9B7B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28D4E30B-2903-2C4A-3F4A-E9AA4FF498AE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9A6F6202-ACE1-4283-0A17-EC03647EC6B5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6A090605-EB6D-4FBD-C08E-1A63891F1A2F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E4888E45-A752-D8DB-033F-0E2EAB66E05E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7A1C6ED7-B14A-A308-0738-21017367F8AC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06C8BEC7-E793-961F-5023-4456E23D5FA9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0501143A-EBBD-05E9-C3FB-C2514E8F33E5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0ED072B6-22A2-D084-53CF-319E0F9DA266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0971600C-B3DA-FFD6-78E5-6A85A2E70716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61A2AE00-986F-1FCA-8861-8757A80BE20A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DBF9A655-878A-7182-D08D-493F1C66F6D2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1CF1A81F-BF4B-7C6A-22DE-3C29738E5A3F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44CF10C1-9E2E-E7A3-74BD-B60E59F660D8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F1B135BD-6DEE-A0FF-2962-521E6645FA9F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B65717AF-A9E2-FE2F-F21B-F8FAED09C8B7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16A061F3-1F40-B458-2647-D8955D34503B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B6181F21-9EDD-519F-3B59-3D80459641CB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8363D115-7128-9FC6-4662-757CA451E64E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0AE10E2C-8131-84B7-FA60-29D50B93497F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7B51F88A-FE07-2150-0C01-F0F2F6E79ECB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8253EE89-DC6B-B2D0-38A3-F3958BB6BA45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FF6CD78F-4B0C-DE0E-9715-842F7C7A9B30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85EB586E-A848-ABA4-5E7C-6B3A255C6F12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69025DA0-E4C3-D916-026A-19B6C8533465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0D4085FB-8414-93A6-8442-13DF9B07626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79727BB8-6D83-7227-43C6-2148E58CBE44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C5D6FD09-E461-19D3-F390-DA6795DEC25D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29BEB35E-AAF1-0D52-A7CA-525C84B5877B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15426952-CF61-87F0-B274-CB9DB75E018B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DEA8A4DD-D545-348F-6A3A-13FA9108028F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5347DD9A-0592-CCFD-7C0B-05BAF626FFCD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C707184C-5FB0-9FA2-C025-DB4D36CF430A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F7D2F1D1-9CC4-B032-6285-8B6C8CBF11E0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BC080B19-96FD-6CF6-1305-2014CAF813DE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1755AA1E-FDB9-F303-9FD6-F80A7AD734D1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0892248C-7C8D-7016-CF60-E4075BEFBB8C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2D352BF2-5040-528C-209E-9CEE4C536557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EDE22810-A5B4-DEFD-249A-21218C1EB823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3BF0F2FE-20C4-1C40-4AED-57356BE11A50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CF3D9BEB-50E0-6165-7330-0368F43C31B2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3A015F42-A521-C8FA-5C38-53F36E3F38E0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B8FBDC77-43E1-C5B7-7F38-2FF9181F2BCA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5AA3F6B8-FCE2-1781-E795-4A1F932E0995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3A6EC704-1B14-E5D4-74EB-F9B132E61BD9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E6F42C4E-BC27-FC16-85D3-264AC52F939A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5AF5BE86-61DE-21A9-C68F-A19B8275D649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5723E322-1AE7-A072-3735-CA073C9F265B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67688395-8671-6B67-EF7F-FA0F1FEB8DEB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8600AB70-9DF7-8CBA-F444-E53F6DCC833D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8921A153-66DB-8770-97FE-04EFCDA24611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326EBC16-D376-9858-39B0-8DF35B9024C6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5EFB1419-CCDC-2267-77C6-2E55F6D49362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28165807-EF6D-26C0-A0EE-222E209179DA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0BA64ACE-6E2F-0726-249D-A2828CA27B41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FF25C0BA-6A0E-B2F2-23DD-253ED582CEDC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62017224-DB2F-18FF-429C-0842FE4EEE53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074D8138-D7A2-4709-F4C1-0BB2AA07CC1B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99B0BED3-AAE9-07FC-2E68-2E1C40A8AFCD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C6C7B5FA-0942-D0F9-F857-8D9026855131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E429CDA4-93FB-91FA-9A4B-16E45B9A1533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16A80163-EC20-6BDB-9AB6-079182AD1D76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EC0CEC4E-967A-38C1-9E7A-9140D268D9B7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C5858A72-0EE2-EB22-4211-7976C27B5FA7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5E063643-9DDA-7155-6F64-5A6DAE8CAA6E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2381B03C-1774-2A7D-141A-24D49A3E86A6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9C476D4C-8B84-258D-09D4-0AB7B77013FF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E19FBA37-E396-3D57-DF23-243D0982394A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4063753E-89A1-EE83-FCD1-C689D2D52085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EE0206B7-1615-96B5-1A49-5ED881DEA75A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AF4DEDED-5D06-1E2E-0719-FB446BB221DB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A0557012-9F0B-795D-F714-9D5DC0B2DB3E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8A95DBE7-6B8A-F7A1-A72D-DC396B63840E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E7BD4464-D017-7197-00E3-990A72AC7993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77690ED0-A79D-4946-62E0-65C652C54075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C44F5E3E-B455-52A3-479D-59AEBE0B664A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E7F93A31-E970-24F0-941B-9E842255F0BB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5C920699-C216-5FE5-5526-39E8CEADD43A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53F4812D-5D67-C234-97E5-D1828401F44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45D8DEAD-5C50-178D-C348-732BBAA468B1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84E141E7-7410-FE0E-4D01-F140BE0BE8C8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3E65037D-4FD8-E02E-136F-C20B8BD9792B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1FBF87F3-4E28-A847-2B64-9B22C3828544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0884F2DB-11CE-F02A-24E8-5C948D222C62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045A1DBC-1B0D-4B66-817A-1ABDD3CFA4B0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44A8B931-2889-ACBF-7780-88F347DF7FA4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ECF8C82B-8437-5C15-4D71-A1FD0E542CE7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104DBC68-6C50-E974-9D62-1D35AE9AC004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82D05DED-30A3-70C6-3F86-B965EE9426A7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C53908D0-7E2E-7B19-0502-987123A55015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978E9459-BD28-9483-0170-FCA38FA84978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C94C0D77-76B6-92CE-4E3B-575358C1F5B3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BD27D6DA-9C7E-173C-DCB1-2BF1EF9DF38B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FEBB6630-E815-587F-F9FF-48A6D3B542E4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77EEA7A5-49AB-F5A9-8D31-5BAC082A35CA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B5335C3A-1DFE-A850-7F06-554639485DFF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E85A314F-C97A-2EFD-89EF-92D0D6716304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A9D67A2E-83B8-26D0-B84D-EAFE6796412D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90F9B42F-F01B-A24F-60A9-74A67E364B30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3186E799-94BD-B661-629D-7E0F84D1B678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1EDD0DE2-FF98-EF65-3E65-44C00226BDAE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3891705D-7D77-6F8A-A553-81EE41E74A3E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72471007-1909-1983-B808-9BBF03DDC4BB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890C4DC0-F09E-3961-808A-875EDF96E23B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E225B584-4503-08A2-F1E9-7AA760EF93F8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7199F33A-01FD-91D5-48E3-0E19BBA0AF9D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18DB28A7-0044-6E09-83ED-CA96A9DC6BC2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21688F36-7147-F062-3D44-BD1964B6E753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5918D39C-7D8E-F879-5724-AB307D694892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32043D87-83B2-6BAD-D8DE-80590D3C5F6D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F107666C-F48B-EE46-DCC1-C83F4A5287ED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3DD5AF51-99A6-D031-E212-36184F41E2F9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E7E1FB67-0B72-A4AF-12C4-7A6C1AC996B1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9159316B-50D6-B0A9-7F90-7844EB3F02F9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8763D8B8-4303-2BE6-4740-FA3E7F0E5A43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BFD194DF-3005-2F03-11CE-50EA96447227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D9FE4B7B-7EAE-5A56-A9EC-CBB96E995661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C1B71A9B-62BC-4022-6D8B-28D0E2D061AE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B33C7922-0C28-E2CE-8D8C-119E95E11DC5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E6478CC5-8280-41E2-72BF-59121918ED03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C582F1A4-2639-7090-D09A-05CC330D4CD5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5AD48E0E-EA4B-6ECE-2920-5601227BF66E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1BE9DFE6-AC91-9546-6D23-5EFC2F8E458B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ECB21F7F-39FC-AB5D-0EE9-5C7667B3EF3F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9EC12614-C45E-D48D-0F71-532E8E36D6CB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8854C954-23D9-105F-1FE1-DDF68F063807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AC76E6E7-A232-D3F3-8A7F-4F76418DEACE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164E7410-1CD9-D187-0296-96FC7C258B74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28EC7DDE-8809-184B-4596-A052D6E37C7E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A6C5CE03-F014-B964-F15F-6315442D1375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2ED758E8-B982-D09B-F51F-D32E939A4FC3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F68CFA43-9768-8FC5-FFF8-F8651C818F5E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FED1FDCB-210E-FAC5-2D34-545409960E26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C07903FE-08D0-F93F-102E-34AE4F994BA2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2C56F1FF-2030-C0E1-9542-E3B834C173F2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9F53BE99-28E1-096C-8BF9-8C257403E5B4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C891037E-45BA-714C-D70B-EDCD8C538411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3724F6BC-11FF-A942-4C30-7E966FC082FD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9E377DD9-BF27-FF84-C44B-45C63C829531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FC4FF2E4-BFD2-9B83-5A47-BA767A4A3249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1C6A20CE-5EC0-EDA5-A4E2-934C5973AFCA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636E71FA-F16B-FFDD-0067-D73362E352BC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8F3D77E5-F44D-C916-FF74-036D6AE3F766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B909D8A7-7E11-DFE9-177F-BD2F2ADD3F21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9856AD82-0739-224E-A1AC-063FB5C85718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BEAD10C1-A702-1CE9-2E85-82CA012655CD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88B28160-B99F-93D2-6F5D-7A5A73B76FE8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06FF915C-87B8-9464-7F6C-C946F783CE88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511CF900-284B-539E-5E25-0F67CE8C2579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DB66753A-A9B3-CA6F-9A7A-418F066C0669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5D9BFD2C-8D92-EF3B-B3B1-B457522AE713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0EC609A6-505C-1128-35E5-BD3F24C8DB02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4F04E38D-AD79-C2F2-6ED5-248DFC1ACFC1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F8F50831-942F-4B9B-6BBD-08DB504DDF37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0EAF9C7A-7EF6-C588-40A8-4D476B99AD2C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61B260E6-5E48-3B59-C0A4-1BF1350FC4E8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9CF64063-B3D2-6737-EAC1-76A00EAD94A0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160396A1-E25A-FB41-C254-DC10521D840D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9334CB31-FF43-2C7E-E578-B59CCCC8532E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6182CF21-7293-2621-E6D2-83C0C3851D2E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0548DDBA-1305-C697-C5F5-7247BD645F46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081D2486-943E-FD78-16AA-C354B223B10E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3C753524-0293-5099-FB0F-BCE34AA5A8F5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4766A6FA-861F-A266-AC85-040B807F875E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9794EFAE-3200-3E05-4CD0-04578A38AB37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C219D9A6-AC49-63C5-AD09-1EF1F16FA844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6F37E5B2-97BA-5191-92BE-492FF8B87AFD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F5F07A28-6CCD-83B3-A5FB-5E3B319F169D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7E19822F-A94B-C42D-FF30-3C9B5E99D79B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D4872D39-FC6E-C345-15DB-2FC774A00E65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F0584D43-C021-C774-9DE0-E13B61E2C3BC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B6F80066-30F3-5E69-A40E-5534788B9F87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1011BDA5-ECD4-F74A-4604-7E1E154613E8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DF02AAC2-9A34-806C-E637-39FB81C1D18E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FDAD342F-314F-638C-B366-DE616562BA8B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03A91215-8E7B-B408-61DB-5757C2DB8F71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75549155-FC4F-503F-C035-902F3CEF7F54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48CD85B1-8498-D8B3-230B-EE44ECB24071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07806BA1-90CF-5E34-8D63-0431D6B3019B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36078248-2A95-1A03-BDA3-E51916EAF382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9B191731-398A-E616-AD86-6D46A16CE7EF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DA8402BF-F676-9ADB-316D-3EA71D1C09E0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3EE6B150-35DB-3667-D8E1-53B0A6E66A33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AFB6CA29-B8B3-6DAC-843B-30C41B9F75F7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0A2506CE-AA16-DA13-843A-B72791E27FA6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BCAEAEB1-9C09-3A89-CB84-0AC4FF34CB61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EAE92B13-96AF-7F02-ECFA-0B5B22ACEE94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659EA4A5-68B9-5937-56AC-C37A579CFDEE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198C8C75-60E0-F623-D9D0-3F2F0B0EB0AC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A2B6B843-6D4B-7CD2-A307-EFF63FA050DD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6D9F2590-4839-90A7-5FA3-2C041E9FB3EF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2E9BFA0D-E1CA-6269-A156-D4D12A05ADCB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DF3AF442-3EB1-5453-E7BF-59D3873D7288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5126EBA2-DE2B-836D-D9A5-59E48FBABD8C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EA2DBD67-B8CB-96C7-C5A5-5A9070324ADC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BDF31494-722C-DFE6-30C9-C3E98DF6EF17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FCEFB822-F12C-1120-E38E-D347AE123F34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79A4A2EE-EBFB-A276-5951-4D31F558F430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0F516E70-E2AA-9B8C-1EC1-25C07F4DC4C5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6F8F7D43-A42A-92AA-D58B-4A23541A7BF6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74C6A05D-FF87-0DEB-9C89-12E1AF9852C5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99E5E883-6721-8697-59B7-D599FC34C316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23556EBC-E542-55E2-EC61-ADE89F95EB18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677E6451-5FC1-144E-91D7-1109B3C6FE7B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5E417DCD-0DD6-C6B5-D213-CF8BD2F4BDA5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D6EFF0F3-ED3F-E04A-CD1C-D564F22A602A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A24ED3C8-8485-EF9C-4E15-455360048DDE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F2AA2805-B364-354D-4DEC-357263C0CB01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3D4EF022-1A1F-0EE5-64EB-2B659D222C9D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67ED54F4-E6EE-3DA5-93F1-BF6DE420F98F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BD214DDB-3586-71FD-AD2C-132D9CF04130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5642834D-8472-B2F5-68FD-7E5FCDFD17FE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B943D7A6-E9CF-3F5C-F22B-5A4577EFFCD7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6C45D02D-5FAA-AD21-DD2D-45E2F6FA42A8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A8A3CFB2-DAD7-D24F-E83C-8076856EC3E2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7F768FEB-F012-93FB-4BDA-FAE2A0C730FE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EBE59825-FDB9-1B66-1831-9DC5F4D4BA0C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449DD2D9-ECC6-2E48-9626-2007356DEE91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E40970E3-068A-516C-666A-936BB50FFCF4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E525344E-1063-6E13-93E0-C93A18D86ED4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D44BCEC2-13D6-1BD6-F4B7-9F8A653B14EC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A39FDCAF-FE4C-B9B5-41A9-BBB5CDF249DE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35DBF9D2-29C6-2C71-D998-34B29D7C5679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9B06BA27-45B1-B05B-34F2-B24CAACF7938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DBB1227B-B16E-6A32-2CAF-D6523C0D804A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F82CFAA4-58C1-1F70-B7E8-8820184A21A1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BA19A706-A030-7438-DD18-383412244B80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809879A1-54B4-AE09-3491-B47C6829BB93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870F81F3-A098-3FE2-E0C7-AB934B40FE52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8D6C82C0-C8AC-8BC1-4D2F-3035A340DC2E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391C25F4-58EB-5110-7619-E55A1C4D3059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C0D94F2F-EEB6-FBA8-F7C8-D06EE5CD6508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FAA3610E-6821-DB76-374A-8905B47CABCC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A6D412C1-C137-EAD7-90D1-F87A8211F2ED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6C96D53E-5232-30A3-B523-9A915A205012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CC769824-F35B-9884-2655-88E957A587C9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CDA34B3F-073A-4FC1-6428-CA78054C3C68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9E57BFF9-DF88-1225-CCE3-F35178468524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FE25F067-C022-3665-5207-6E6B8F08B6E1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5ECD7135-2303-9781-30BE-312185943DE2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84B78855-36FB-D396-D5BE-FA1CCAD45EA9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B93B3A0E-3555-1E57-F803-14EFC561B288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9B8019DD-1B81-3D29-4E8C-F805BAA74DCE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D61D641A-2960-4B6F-C307-446B84E5ED39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E9A0BF5A-7638-4A10-2446-E9F1CD733F68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FD3B43B9-CBBC-BDC9-10D2-82407C1BDB88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9B03EC37-179F-E7A9-2CF3-341B939DD9E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3E9AE07D-D112-999C-9BE1-16990E2370B5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D6BFA75A-F845-3E49-643F-D749F97C2A8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603BF257-847B-8D2C-2ADD-1D2DA72E2225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9C52E229-94F2-536A-BC65-157D56FBDDA7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13961931-8EC8-B652-BB2B-8E33880518A9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760FB270-8483-5943-6534-2680E30EB1F1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1CD152CF-B516-8C3D-9474-935D29FEE1CA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105F77B5-98C0-4662-60E1-83DF4D147701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BC62AC34-7758-A839-F4D1-BB302FFF266F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567D0E53-93DA-A14D-2ED0-17E5734B55CC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30951D44-F724-1483-7D5B-18F87CD3CEA5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0D5887A8-0FFA-D707-2A02-7BDEF3254E5E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664F1AE8-8779-AEC0-0C9E-2F0F16C96A85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E9F7C9CB-3E5F-7B3F-011B-27A336D37DCA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2B52B726-EF24-8697-6AF8-2CDC1C5BC69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E401C214-6062-6498-9625-AD50E1AB1F4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51B3FC20-2EED-96B7-1C4D-3F3E247E9487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CC6FCE8A-98BB-B430-128B-09CC360A07D5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F85C10A3-2C66-B0ED-B43C-034942577717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9B59D3F0-C708-B39E-4EF3-F0910EABDE4D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A18DF8A7-6C52-6BB3-7683-A24289B79083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5FEB962F-2FF2-94D0-FB4D-2DDF58AE2DD4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7190ECC6-91E4-F8A3-1DFF-A0043156C5A8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9AAFB211-6C57-5DA3-779D-C78E07746D68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C385119C-DDCD-0CA8-7032-506DFBAC94BC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628DC551-34AD-CC95-59EB-0605E6409725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CFFC31E5-70B8-CAA7-9110-17CA4D8D7516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6E6A3C26-DE93-1334-2869-37D1FBB42093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D0DFDD3F-A13F-C3A7-40BD-E9C116E3EBB9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81C82456-CFC0-261C-B1F2-C4CBF6835F05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851623C9-6890-4DFB-635C-92AD597ABDCB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8E909B71-827C-67E9-77DC-433747F38D73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0549726E-E359-F0D0-6E60-55BC63FC979E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714A4A80-2615-CCF0-1E42-C88E4A97B89B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FFEB82CF-C2A9-7547-5CF0-6C03987B61A8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4A92DDB7-CA43-7954-CE2A-BEF5E493313D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E4C29986-2908-5289-CF91-C8E23289AAC2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39421FA6-19FF-95AD-FB6C-D88E821A4B70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A6BA80F3-DF6E-EB1D-DA66-58C3995F620F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F2B0A99C-5C6A-87DF-4365-6C97E08FC822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5B932468-9534-B831-B81D-2AF2228D03F4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8CA8DE8A-9D99-8787-3367-E591FC0EFA44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E35D1788-2773-AE58-284A-329984B2F3FC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473032F9-88B5-E722-2E1E-59187E039515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F3A24B24-2B43-81A8-5F6C-FBB46388C473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91914F74-A5E2-56DC-B78F-E3C588207F43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4DCE58EB-41FF-FDFE-48D8-56D56832B1F7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DBB7A194-9BDE-ADFA-493F-F97E6AC2791B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96E130E4-9B15-325C-0308-40860B88EBBF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0D765871-DC58-75FB-C5E9-EB3F23CA8219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845A283D-7EC6-6825-A412-7EEFB829A0F9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94D6D847-CF5A-136C-03FB-89A1CBBED59E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5A016B2B-D03D-6A54-78FD-0D98114A550D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C4CA8522-44FB-98D2-1F51-11897F16AA74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D59245B8-5655-4548-EDAE-7A267563ECF3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86AA3E36-84BC-3C3D-FBA5-45BC89EAE477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55844E80-FA2E-192E-6237-A7B825D4949B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D3D02677-9217-9685-4577-46D671641544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1465B9B5-2D70-2450-E1DF-2223995ECD03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B54DB066-5EEB-F7D0-2212-84231DC88089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41B739EB-2521-61DE-1D1F-F2C652246F19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74436E7B-FA52-1DF3-769C-F260922EB918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F0C36704-3FB0-3CBF-46F0-37C1712FE96C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5A1B86A0-BBFD-2D0F-455E-3C4407136618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9D48092C-0835-C4A5-73FA-84B1A6C24C92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A949519D-88B2-8B2E-5B87-BDA729A95197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B7FC10BA-7DBF-0557-F7D6-AA5DEA5525D5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9CFC964D-AF77-42FD-9F45-D13EB66D23E5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B7D5D598-E7EE-FD1E-E117-45DF6BEA0478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6AD2FC7C-282A-EA83-E8BF-AEB2573CEF6C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26070CB6-1C0E-4663-A9BF-523270E52D65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92BA0DE1-83D5-21A8-C971-E833E55B18F2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153DF6D6-1B87-F164-A68A-828E55556BD2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1B2C5AE4-6AF8-60E8-E2E2-41D1B481DACF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34FD2E01-B044-55EC-C964-8540C31D5B05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6651F1A9-B0C9-C810-A372-CDDDBC9D4416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5AE18DF8-6EFE-3149-5ADC-37B97F45B6B7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F33BD196-6F06-7255-3E91-CF5B1F0CDF23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969F2E68-AD93-E9B7-0398-A34D2F63ABFC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AD394F79-CD45-1A18-EA4B-6CD460841FCA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86474306-6907-D9FA-37A6-63467C54F7CF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EE6D544C-45A2-036A-6C87-6269FDD76FEC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79831A64-A265-D3AC-2F86-3CCFAA254269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404F80EF-C311-A60D-D09F-3A15192C4FF8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CF7964D6-B9FD-5295-F80E-7E82F4CB40CA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3538D33F-7919-546F-4FDE-5A1DEFBD5294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63D7F78E-0D9E-2B1B-49B2-E29554B66A9A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4A7E7170-FE07-2018-DE37-86AE2B924E78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CA64B0AF-6908-93ED-EF64-9AD056216C9D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5E41467D-51DF-346F-3F66-8BE875FA2517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AA0DF653-02EE-7CC3-8223-05AE73EC2536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24538494-C6F8-FE77-4C26-C225CD7D0C52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7B2B4AE0-B9D1-7CD4-40D8-4C26C8343312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47235A3A-A19A-2216-1323-F784C25B3E33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E03D05C7-4703-C3DD-4318-D3A78EB9EC1A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38AF3D24-72F1-1209-6D4A-27FF7C269EC4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3308756A-3AE0-7071-BFA8-E1F861FC0AB0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306C0358-345F-96AF-A2A5-2A3E69D01CD1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25650781-900A-9E01-7AB0-CA5B8189EA73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D238AFA7-14CF-C1E3-03A8-06487504D79F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361A99CB-60A9-55D3-DC91-135FDEA724A4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0989BEEE-4A59-D881-CC73-329E28342747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97D5BD52-15D8-2908-2D24-40C8BADAED36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675C1D61-9EFB-7B6A-D1C1-71B408747524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7EF05498-00F2-104A-1038-E88D702708AD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A22327F2-5C03-BE36-1A04-E9482DBADEE1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4C4C55E5-3C80-32D4-A378-E6C7512CCAE3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B4F62365-DDAB-8A8F-2B22-2055D6B5A840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AF8B1FFC-D08B-30D4-E82B-3A4418748DA1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1C4A77BF-DB41-59E9-D916-3305DDE79455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4B5A7B70-BC0F-A4F5-F2D2-AC00C77A37B3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CD6104EB-36C7-20DB-DE67-99CF1FBA487D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AB942BF7-EBC4-AA72-154B-766F4C5EC4E5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CE8E47AD-A4D7-E2C0-50D8-24388873EA6A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A5A71D48-2C78-44D6-7525-C8ED71F8653C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C697ED5F-0F18-8D2B-655C-6EEF57254557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0828E0F4-8DBE-55D0-CF48-AEC2EA428F65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5D1695E0-8268-334C-F6E4-F5EFBABAB839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66FB94AB-0B50-0B91-2B29-BA7C2593EA3D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BB931701-BCAB-0537-92AF-02D5FB40E1C4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857060B8-5B59-BDC7-15DE-BA65F402AAEA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3795F20B-C886-4F8B-EFAF-329C5A3D3745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DFC7EAEE-CEEF-B55F-CABF-0409AA0ED09E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B987C195-9AE9-04CB-C413-E4BD7ABE6559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FADBC744-12D2-3F3F-2D8C-DE094306D3A3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536AFACB-2A27-6376-E262-3ABF0C4AA522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D02806C8-BD5A-37CE-88DD-680E21F7A2B8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E679A116-3905-B013-39B4-2C9198EB328D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C98AAF8F-1E55-140B-F918-FD8340676DFF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306C963E-8A30-6C2A-052A-90FB9C2421CB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B5E00B01-F1FD-BF01-3B2A-D00D7F8ED29A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C4AF88BC-ED90-6B33-C294-61A850C6524A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2D5DF5A4-9D66-5510-F0B3-8C750FA7A876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070E152D-D642-E2F1-7414-1F3DE7594C1A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9F29FA96-509E-BF46-2D98-573909D040C3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7FDFA2AC-5D8F-7EA9-052D-CEFADEF904DD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E6F1451E-0A66-084C-B351-40F3868D0AF1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DC4A5E85-7E71-4F18-9A81-D041B59BE37B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F8854505-09DA-BBDD-1AC9-209CAFDDD0A3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574ADA4C-5955-0719-1963-164800E02A85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D42F26FB-43C1-9839-7B31-9F63B27DF21E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D9CB35A5-5E11-144E-4C8E-3962DEF0E739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B68168F1-2029-27C3-7792-1CDA2351DA27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3247792E-DDDD-177D-0DF6-0D4951C14FB5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7AE3D623-1B58-A85B-8AC1-B6F5086FC774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7A3AC298-7CE7-4391-5639-B81A27144C85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83C6A78A-857B-77E3-9B42-B4FD5939986D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1403595B-C19C-9165-7A2D-CE80B2397FDB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FED6DCF7-9FF6-9813-E2E5-3D6F87EBB22D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9DD2770E-5987-FC18-5FB6-0995CC51212B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0E1FDF01-AA73-DFEE-E3FF-BC9FEEA30449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F9ED58AB-4592-F192-1A03-9D97FA884423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6BE9D98B-4065-FF92-C81C-121A493A8DAA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7D5859BB-482E-9620-0D0E-E16F965484C1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2918D9BA-181D-F6F1-8B78-3A2DE68A61BD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42FC9864-3FDB-BDCB-6664-B9D3AF14C49D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D02CCE18-945D-D11E-2D46-AB0E05071BA7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6E137067-ADD4-0DB4-4370-D978B2C2034B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8EB81E85-2025-A521-A9C3-99F2D1CE87A3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43B7D5F0-0FA0-8727-3339-FC16873161A4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4F5D7805-9F66-2CA3-8252-120BE5D4EA3E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AC902DC5-B353-7DA8-F10E-06AAE9358FC4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4D2E807D-6A8B-E8A2-A464-5699471DD759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41A810E8-8611-18A3-0D8C-1865D91FD1CC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FC983D29-0D68-E769-6CE5-E525BF8FCF10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133C5F43-7E85-E20A-B8C2-94462394FD2D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8B447A9E-3743-736C-F39E-C512E1A3B066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F8C12313-368F-D58C-B3C1-EF4369697918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16F9894E-111F-81B5-AD0F-EBDA92E42C7D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B50F8F3D-D607-1A53-2085-E809534BD8F7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B15390E3-6040-93D0-92F5-38E26F6037FA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D20D0D3C-B9E5-191C-436D-1AB654F08A23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72B1AF6A-5205-4D2A-BF08-6444F5DB4B93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F442C26E-0B59-2639-EC0D-B42D0BE8C2B8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EF44DD06-A177-04AD-E8C1-0500B1CEC33E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F30D0CDE-0933-F71B-9C9A-9CA1555CB278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ADB882EE-7F3A-17B2-A343-9BB89A8F7E4E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A300CC4D-56DF-E4D9-2D8D-B0739180AC88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BCCBD3DA-31DB-586A-4BF7-879FD78CE791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CFCD2A6D-E91C-F49E-E026-A57157F7124A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52BC80E2-E543-FF60-DAAF-98C2D7CB54C0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08B19E17-523C-3786-4F41-E34F0231F0D9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27BA0C23-DC20-51A9-DAF6-E547470ABCD0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223E51BC-CBAA-0E4A-EA34-4CDB091CD405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5BBF00CA-9577-E641-8BAE-2CD873F8E7F8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471AF57C-515D-0C2A-4451-5355B59D856A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C9EE29CC-C732-A213-B51D-228F25CF4E74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96A685E1-8D43-ECEB-05A8-CDE7D691EAFE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791A80EB-59CF-91C8-8707-4142B1ECD0B1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91A39571-97D0-143F-F36C-7D300210BBDC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C2BA0E98-1083-F6BE-EECB-87838722BFE3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C47D303F-5D82-5479-B4EA-87B7C811FC61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629C0F33-9861-1DF8-518C-7928A6950975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3118848F-3E85-8D71-D94F-EFFDF678196F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774DB1EC-4459-1945-D83E-3440F312C7CF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345C8AE0-09CA-7264-BC21-6377508FD2B1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2418FF6A-3720-9DBF-C7F6-84F7686CCD4D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C68C5AFB-DD2F-2D39-F242-BB8ECA062492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85A1D26B-2FF6-BE53-A217-593043A82475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F88861D5-2628-F2BE-2A5D-B7FDC2F4101D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2513074D-78DB-0BA3-4ED8-97B5FDF9392B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38C9E88D-162F-6A74-C524-54AD0594C678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13A1B22C-0BBE-E89B-E9AC-31F0E4EEBA4B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3F98CD17-5975-4BB8-3EB4-26AF01A42984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7FC90978-F3CA-DE29-7578-68A287F64A10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2A520EA4-B7C4-45F2-3123-0BE7075262CB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506CBE18-8D69-C899-1CBA-83887FA7ACA6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C310A540-DD68-17FE-1115-9CD6185488BB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E387E151-0992-FE0F-14D1-8B7645FBFB7C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B93FCCD4-80DB-2065-2A77-87DC8AF6957F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623E1C48-7B03-971C-1431-0B2E42477C3C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58360BB9-CFF3-5210-FF45-D6ECACD98B35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B3712D62-73EE-3020-6594-D2AC165154C7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8D49B71E-2CEB-41A0-DEC4-DFA5028D5D01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393B3673-7C9B-0938-C840-17369FDAA88B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6BAB5187-901B-4C73-15B9-90A3DA9263BD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CD30CA62-8E0F-08B2-CE92-86CDE0B970C9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43B0CB61-CD7F-8624-0A13-AA9285044AD3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94DBD08E-2D1A-B41B-817F-382131DB7C58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50156011-AD40-2A57-6492-F0C7F13C3615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DB354A14-7F75-DF42-E175-C57238B68E41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564AC4E7-F51F-1C56-D75E-70D908A45F44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BC44CA16-3FE4-FEBC-E443-0F1B62CA51C7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6D3F15CB-CD64-68D2-3890-05C96CF6DA5C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580D3DB1-1837-3A00-2A88-B44E39409A3D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A3495CFA-8FA1-76E5-DBA9-05B414E01EAB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05FC8F00-B2DF-9D43-584E-AD46BD74C795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F9F4B062-F14F-EEB1-3869-E5D06118840F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A59D5BB6-895C-3140-64E5-F5FD17577933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7030F4E0-E94A-083B-10EB-F52211144186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7E844FD1-710A-DC7D-095A-5DFA9B8C11F1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EFDD3E26-0793-68C7-83B9-16380F71EB14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06A17ABC-0599-5D19-1284-DDA2CABBCD54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B70C7C7E-0BA4-57D3-F72C-7369CC1192DB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DDE5A9F2-D3A8-BAAD-706D-0F0F29AB8600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114D7F43-81A5-F710-E2B8-5BAC3675F681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1E5C5A45-7D42-E31C-E63A-0AA801C8F3A3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D8AC3B8B-71D4-F2D7-8D13-14B9F61CA8A2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7AA5E514-50C6-7C8C-8ED7-3D5A47443B38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408834E9-53C5-D415-D0AF-12328F2FBA7B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752A29F5-A9E8-709B-C72B-05DCFCD5E6FD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8E42D855-AA27-8920-7A7C-DCADC6F1EBC3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9FD2658D-1D9F-F549-2B46-F6CCBD7FC619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89A6EC1E-40C3-F936-FE83-53CD7476C17D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55E236F3-3841-66E1-0DD1-3DB060819516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1A4522C2-3B6F-B0E5-50DA-4572D0056D9F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76DBE383-7706-7077-DD90-EF17899A0BDF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F8FD2DA7-CFDC-DD69-6E2A-8B9DCFAE4A32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5274A7D0-EB3A-F969-AB88-57F4A1A922C5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1C8CA2A-B4C6-E1BD-2574-12A35415EAAC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1F7FD245-59B4-8369-AF47-AAC7E6535C1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84240C55-3AB8-C091-8E9E-0DAA49DACB6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95D9EAEC-186D-E47A-8CF3-C625AA84E0EE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AE140311-2C2B-66E8-6762-C4EAC9B76D3C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5F5856E0-5758-F932-7CA9-25328BDAC1D1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7329551D-379A-038D-B469-2E1E68BF2FC2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09FD2DFB-D0BA-CF6B-BE2F-561D6C30507C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31A611A-7F13-39FC-838F-8615B61774D8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8408CDC4-EB49-2E59-FA8E-92D87F6D0BFB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34657DB8-336E-C6DA-BA3A-F7689E8D63F9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278D12C7-B940-8010-824D-1ED0EAAAE50E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8CFF842B-C4AA-3E16-FB9E-7DF21AACF666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621F6850-C92B-2278-3718-B1F231DBF8BE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43268173-4006-7D6D-F1B6-4EC65165055D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7A222E88-8658-6C7D-1292-358760EB11E4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E20D0EC8-1DF2-CD06-3390-9B83DA4B3B02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2FA6DE6F-E34E-C8C4-A540-9FCA89024B9F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D7FDF890-E8CD-9860-8ECF-CE2931ACE88E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208BAEF6-34D6-FE39-62ED-CDFFF38CBB54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A6E7DC37-59CC-ABEE-7B43-A10CDAA3FC41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175E21BB-EF68-321A-7F38-DC90AA824EBE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800291ED-CBE9-B0F8-4D40-D111758F281B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F7303FC1-F91C-9766-72D6-6A6178C99E3D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C42877A6-3D7D-1F09-BD5E-4D683E54A289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62D31863-53CA-B49D-FAFF-11767B0671FB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B17D10BA-3CA3-8011-FADB-88B132B735AA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19CCD044-EB9C-40C6-922C-704FDC1F055F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4EA7977D-8D55-49E5-25F7-FF7D8F6ABAA4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2BA1FDAF-E919-4A8F-1079-EB4ED76F7551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89AB74D5-A04C-A9EC-43FB-49EF9E3E19A5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29C44407-55B2-4CFE-0CE4-89EC3EA0F9F5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79ADBE28-6A46-67A8-7926-FC0A227C4970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E6281866-050A-B980-342F-E2DC04F97AE1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125E0B09-004F-2235-8F64-C0E25EF6E0AD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0D1126BE-D296-0462-D9C0-8ADE00C1FBE8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AB9ACC9C-3F26-2266-3F60-AD90C836D2C8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59040966-FF8A-9C88-AA92-0A4107208E1D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5BECBA85-8099-8ECB-0428-C5F0A16730F0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3E806D83-2BB1-E13E-2423-E6A651E88CED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65248496-C6D6-B7B2-3927-4E4DE4AE4E88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516843EF-29C4-5270-8BA9-1E65E900B8BE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5208172F-D121-60B6-2684-9A4A306C5946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467077D3-5F23-1457-A199-B561DA1662F8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1ECD2E90-0126-AFD1-3C4C-EF19DF22CA68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C50053A5-7E0C-B209-ABAA-21A7FB36A233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096BA6BD-B510-1C72-2F7A-E7E95810A083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BB210332-7AFF-6D9B-99F0-3D7C6281C01A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90F98C46-BAE4-9C3B-B4C6-7665495FE3B0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6AABA72C-0113-4C24-B10F-139C903FF41F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67D0B287-D3F7-4611-3CC9-64514D1C0AD6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B7DBC4D7-7823-E7BA-1B35-288EC9CBA06F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73B382D1-FDDB-6A6F-0DBB-597CE3CA87BA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1DB9EAA9-E6DD-AD8C-2A17-4630092AAC09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3DD4A142-A60C-E119-B60C-7AFC9B22884C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81884875-7D50-955D-D7B4-5A9222323BF4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6A53D387-02D7-F99E-37A3-280A38569CAA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D6A5AB7A-B17B-CCA1-C4B6-2F11B284682C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2DCEC349-F46D-2B32-898F-D0A12CCA24D2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7DEFA7F3-45E4-FEF1-DF60-3BD3B740CCCB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771B4327-E734-877E-4ECF-02C031467E8D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573C2A06-8104-46AB-0071-7DA019F22F0C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28326491-039A-AA05-C49E-9E0506F1EF60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ECAB164A-0C81-9484-B764-3DCC6E3CCC5D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AD6FE419-D656-DF3B-2F9F-AB1F01F44773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EE3BFFE5-1289-0DBB-9DBC-14E4CF47F3D4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33932D07-DAF2-049D-D164-80DC83C650BC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70167701-DFCB-ED5D-A7D9-E7880BA5457F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2CBC4366-21A8-F57E-21B2-B0A4BD08B772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AF821EAC-2FD2-7B03-A3D0-BAD8F62318B8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40059EAA-51E8-21F4-8721-D6ED4B8AE221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29B40719-8696-13F3-F197-F625E4A252AC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E6B0EC34-34A6-3258-EB9D-B73C187A5C85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416BB1F2-9A7B-811B-3914-658EA1016D8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8D330E9B-C0D5-1E8C-F0FC-0975EE66D6EB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B34927CA-E84B-2BB9-F0F0-DE6A06AD2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75E23BA3-680A-F54C-8913-7982317F1F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E45DC8F0-8E13-539A-7A7D-7FDE2097F1B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EB573191-D8D2-5DB2-0848-F3077AE7EB9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3D2B0AF3-9A26-911E-4503-01B12D7AC11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FD72B43A-88BD-1EC7-395F-BD71150251B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1710CB3F-97E4-90DA-4E58-5F91FF69229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7EA21EBA-71C1-BB85-C82B-795321AF01A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AAE5D90B-FD12-1829-68B1-484740E14F1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E33A2738-BD5D-2821-D38B-73A760DA088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55BA9A03-D943-6333-71E5-2A9B5019D7C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CBB8C635-11CC-9E2C-A465-E5F26BD60BA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02D23CB7-41A3-F76F-6F96-AA865B90EDC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C15627BC-6E38-E3F9-C2B9-7990027731F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8F5B0A51-A25E-C62E-C79E-089C4613750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4D6A76B8-5E96-E186-D056-BD8A85CB1BB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6329E0C9-D2C8-5F28-6C55-0AEB0A394B0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1547F528-F5FA-0083-9CF0-6EE5FD49CAA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9BB36610-D207-2C08-8FD5-9AFF3FAFF6C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035C8A98-F775-F115-3C4D-D268A5181DD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566C42B8-3AA2-067A-B077-669568E5592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52E58B60-0D7D-DCBB-CFC6-F59155C3C6A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3368BFC4-738A-5284-4394-7CE69AC7E3E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39" id="{21923E53-DF41-4CD5-88C6-692BB2E4424A}" vid="{AE04570F-311A-4C00-9577-8A4E42F1F553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petrochemicals-chemicals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6:38Z</dcterms:created>
  <dcterms:modified xsi:type="dcterms:W3CDTF">2024-12-10T08:1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